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9" r:id="rId4"/>
  </p:sldMasterIdLst>
  <p:notesMasterIdLst>
    <p:notesMasterId r:id="rId12"/>
  </p:notesMasterIdLst>
  <p:handoutMasterIdLst>
    <p:handoutMasterId r:id="rId13"/>
  </p:handoutMasterIdLst>
  <p:sldIdLst>
    <p:sldId id="256" r:id="rId5"/>
    <p:sldId id="460" r:id="rId6"/>
    <p:sldId id="456" r:id="rId7"/>
    <p:sldId id="457" r:id="rId8"/>
    <p:sldId id="458" r:id="rId9"/>
    <p:sldId id="459" r:id="rId10"/>
    <p:sldId id="461" r:id="rId11"/>
  </p:sldIdLst>
  <p:sldSz cx="12192000" cy="6858000"/>
  <p:notesSz cx="7315200" cy="9601200"/>
  <p:custDataLst>
    <p:tags r:id="rId14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226C646-A058-4CA3-871E-7F5E15246A06}">
          <p14:sldIdLst>
            <p14:sldId id="256"/>
            <p14:sldId id="460"/>
            <p14:sldId id="456"/>
            <p14:sldId id="457"/>
            <p14:sldId id="458"/>
            <p14:sldId id="459"/>
            <p14:sldId id="461"/>
          </p14:sldIdLst>
        </p14:section>
        <p14:section name="Unused Slides" id="{860C3347-2310-4FD1-AD13-BCEA76141D46}">
          <p14:sldIdLst/>
        </p14:section>
      </p14:sectionLst>
    </p:ext>
    <p:ext uri="{EFAFB233-063F-42B5-8137-9DF3F51BA10A}">
      <p15:sldGuideLst xmlns:p15="http://schemas.microsoft.com/office/powerpoint/2012/main">
        <p15:guide id="10" pos="3500" userDrawn="1">
          <p15:clr>
            <a:srgbClr val="A4A3A4"/>
          </p15:clr>
        </p15:guide>
        <p15:guide id="11" orient="horz" pos="2024" userDrawn="1">
          <p15:clr>
            <a:srgbClr val="A4A3A4"/>
          </p15:clr>
        </p15:guide>
        <p15:guide id="12" orient="horz" pos="3203" userDrawn="1">
          <p15:clr>
            <a:srgbClr val="A4A3A4"/>
          </p15:clr>
        </p15:guide>
        <p15:guide id="13" orient="horz" pos="2659" userDrawn="1">
          <p15:clr>
            <a:srgbClr val="A4A3A4"/>
          </p15:clr>
        </p15:guide>
        <p15:guide id="14" orient="horz" pos="1933" userDrawn="1">
          <p15:clr>
            <a:srgbClr val="A4A3A4"/>
          </p15:clr>
        </p15:guide>
        <p15:guide id="15" orient="horz" pos="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oumbouya, Laura" initials="DL" lastIdx="1" clrIdx="6">
    <p:extLst>
      <p:ext uri="{19B8F6BF-5375-455C-9EA6-DF929625EA0E}">
        <p15:presenceInfo xmlns:p15="http://schemas.microsoft.com/office/powerpoint/2012/main" userId="S-1-5-21-2126658991-3233264-929701000-100735" providerId="AD"/>
      </p:ext>
    </p:extLst>
  </p:cmAuthor>
  <p:cmAuthor id="1" name="Rocha, Francisco Ferreira (PT - Lisboa)" initials="RFF(-L" lastIdx="1" clrIdx="0">
    <p:extLst>
      <p:ext uri="{19B8F6BF-5375-455C-9EA6-DF929625EA0E}">
        <p15:presenceInfo xmlns:p15="http://schemas.microsoft.com/office/powerpoint/2012/main" userId="S-1-5-21-2094927150-201071529-617630493-1268399" providerId="AD"/>
      </p:ext>
    </p:extLst>
  </p:cmAuthor>
  <p:cmAuthor id="8" name="Nikolov, Marc" initials="NM" lastIdx="2" clrIdx="7">
    <p:extLst>
      <p:ext uri="{19B8F6BF-5375-455C-9EA6-DF929625EA0E}">
        <p15:presenceInfo xmlns:p15="http://schemas.microsoft.com/office/powerpoint/2012/main" userId="S-1-5-21-2126658991-3233264-929701000-136323" providerId="AD"/>
      </p:ext>
    </p:extLst>
  </p:cmAuthor>
  <p:cmAuthor id="2" name="VERTMANN Merit (HOME)" initials="A" lastIdx="6" clrIdx="1">
    <p:extLst>
      <p:ext uri="{19B8F6BF-5375-455C-9EA6-DF929625EA0E}">
        <p15:presenceInfo xmlns:p15="http://schemas.microsoft.com/office/powerpoint/2012/main" userId="VERTMANN Merit (HOME)" providerId="None"/>
      </p:ext>
    </p:extLst>
  </p:cmAuthor>
  <p:cmAuthor id="9" name="Eichholtzer, Marie" initials="EM" lastIdx="19" clrIdx="8">
    <p:extLst>
      <p:ext uri="{19B8F6BF-5375-455C-9EA6-DF929625EA0E}">
        <p15:presenceInfo xmlns:p15="http://schemas.microsoft.com/office/powerpoint/2012/main" userId="S::meichholtzer@deloitte.com::81327664-7afd-4af6-98f9-5e6684159c32" providerId="AD"/>
      </p:ext>
    </p:extLst>
  </p:cmAuthor>
  <p:cmAuthor id="3" name="Cosmelli, Mafalda Fernandes" initials="CMF" lastIdx="1" clrIdx="2">
    <p:extLst>
      <p:ext uri="{19B8F6BF-5375-455C-9EA6-DF929625EA0E}">
        <p15:presenceInfo xmlns:p15="http://schemas.microsoft.com/office/powerpoint/2012/main" userId="S-1-5-21-2094927150-201071529-617630493-1079994" providerId="AD"/>
      </p:ext>
    </p:extLst>
  </p:cmAuthor>
  <p:cmAuthor id="10" name="Eichholtzer, Marie" initials="EM [2]" lastIdx="9" clrIdx="9">
    <p:extLst>
      <p:ext uri="{19B8F6BF-5375-455C-9EA6-DF929625EA0E}">
        <p15:presenceInfo xmlns:p15="http://schemas.microsoft.com/office/powerpoint/2012/main" userId="S-1-5-21-2126658991-3233264-929701000-102105" providerId="AD"/>
      </p:ext>
    </p:extLst>
  </p:cmAuthor>
  <p:cmAuthor id="4" name="Loncheval, Laurent" initials="LL" lastIdx="9" clrIdx="3">
    <p:extLst>
      <p:ext uri="{19B8F6BF-5375-455C-9EA6-DF929625EA0E}">
        <p15:presenceInfo xmlns:p15="http://schemas.microsoft.com/office/powerpoint/2012/main" userId="S-1-5-21-2126658991-3233264-929701000-65885" providerId="AD"/>
      </p:ext>
    </p:extLst>
  </p:cmAuthor>
  <p:cmAuthor id="5" name="Kamarás, Éva" initials="KÉ" lastIdx="25" clrIdx="4">
    <p:extLst>
      <p:ext uri="{19B8F6BF-5375-455C-9EA6-DF929625EA0E}">
        <p15:presenceInfo xmlns:p15="http://schemas.microsoft.com/office/powerpoint/2012/main" userId="S-1-5-21-2126658991-3233264-929701000-67859" providerId="AD"/>
      </p:ext>
    </p:extLst>
  </p:cmAuthor>
  <p:cmAuthor id="6" name="Barbero, Martina" initials="BM" lastIdx="35" clrIdx="5">
    <p:extLst>
      <p:ext uri="{19B8F6BF-5375-455C-9EA6-DF929625EA0E}">
        <p15:presenceInfo xmlns:p15="http://schemas.microsoft.com/office/powerpoint/2012/main" userId="S-1-5-21-2126658991-3233264-929701000-946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75757"/>
    <a:srgbClr val="696969"/>
    <a:srgbClr val="0097A9"/>
    <a:srgbClr val="75787B"/>
    <a:srgbClr val="9BC9A5"/>
    <a:srgbClr val="BAE370"/>
    <a:srgbClr val="C8C9CA"/>
    <a:srgbClr val="E3E48D"/>
    <a:srgbClr val="9DD4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86" autoAdjust="0"/>
    <p:restoredTop sz="89186" autoAdjust="0"/>
  </p:normalViewPr>
  <p:slideViewPr>
    <p:cSldViewPr snapToGrid="0" showGuides="1">
      <p:cViewPr varScale="1">
        <p:scale>
          <a:sx n="123" d="100"/>
          <a:sy n="123" d="100"/>
        </p:scale>
        <p:origin x="232" y="272"/>
      </p:cViewPr>
      <p:guideLst>
        <p:guide pos="3500"/>
        <p:guide orient="horz" pos="2024"/>
        <p:guide orient="horz" pos="3203"/>
        <p:guide orient="horz" pos="2659"/>
        <p:guide orient="horz" pos="1933"/>
        <p:guide orient="horz" pos="6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B3BB8C-EFFF-CA49-849C-5CA0DE6ADB18}" type="doc">
      <dgm:prSet loTypeId="urn:microsoft.com/office/officeart/2005/8/layout/matrix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A9FEC2E-400C-9E40-8732-F7A00BD68FDB}">
      <dgm:prSet phldrT="[Text]"/>
      <dgm:spPr/>
      <dgm:t>
        <a:bodyPr/>
        <a:lstStyle/>
        <a:p>
          <a:r>
            <a:rPr lang="en-US" dirty="0"/>
            <a:t>Data protection</a:t>
          </a:r>
        </a:p>
      </dgm:t>
    </dgm:pt>
    <dgm:pt modelId="{4C71F1A3-7B51-C04B-AED8-05D34EEA8640}" type="parTrans" cxnId="{2C30D366-4A55-964C-9D08-8044DB0E83CD}">
      <dgm:prSet/>
      <dgm:spPr/>
      <dgm:t>
        <a:bodyPr/>
        <a:lstStyle/>
        <a:p>
          <a:endParaRPr lang="en-US"/>
        </a:p>
      </dgm:t>
    </dgm:pt>
    <dgm:pt modelId="{F554B957-5261-F048-B7F6-972C372A6DB5}" type="sibTrans" cxnId="{2C30D366-4A55-964C-9D08-8044DB0E83CD}">
      <dgm:prSet/>
      <dgm:spPr/>
      <dgm:t>
        <a:bodyPr/>
        <a:lstStyle/>
        <a:p>
          <a:endParaRPr lang="en-US"/>
        </a:p>
      </dgm:t>
    </dgm:pt>
    <dgm:pt modelId="{453A35FD-8B1F-964D-929B-9BC13DF2AEDC}">
      <dgm:prSet phldrT="[Text]"/>
      <dgm:spPr/>
      <dgm:t>
        <a:bodyPr/>
        <a:lstStyle/>
        <a:p>
          <a:r>
            <a:rPr lang="en-US" dirty="0"/>
            <a:t>New EU data strategy</a:t>
          </a:r>
        </a:p>
      </dgm:t>
    </dgm:pt>
    <dgm:pt modelId="{BF9B8045-22DF-A546-A8A7-BB9BE77CA461}" type="parTrans" cxnId="{BECAAACB-FC1D-064F-B64C-54A9C4E26D5F}">
      <dgm:prSet/>
      <dgm:spPr/>
      <dgm:t>
        <a:bodyPr/>
        <a:lstStyle/>
        <a:p>
          <a:endParaRPr lang="en-US"/>
        </a:p>
      </dgm:t>
    </dgm:pt>
    <dgm:pt modelId="{F2084B94-7A64-9B4D-82CA-77D001490957}" type="sibTrans" cxnId="{BECAAACB-FC1D-064F-B64C-54A9C4E26D5F}">
      <dgm:prSet/>
      <dgm:spPr/>
      <dgm:t>
        <a:bodyPr/>
        <a:lstStyle/>
        <a:p>
          <a:endParaRPr lang="en-US"/>
        </a:p>
      </dgm:t>
    </dgm:pt>
    <dgm:pt modelId="{5DAD799C-9CBD-CA4D-A980-76636DB24443}">
      <dgm:prSet phldrT="[Text]"/>
      <dgm:spPr/>
      <dgm:t>
        <a:bodyPr/>
        <a:lstStyle/>
        <a:p>
          <a:r>
            <a:rPr lang="en-US" dirty="0"/>
            <a:t>Pre GDPR</a:t>
          </a:r>
        </a:p>
      </dgm:t>
    </dgm:pt>
    <dgm:pt modelId="{4A912F83-2E2F-204E-920D-69892B0EFDEE}" type="parTrans" cxnId="{C07A1F31-7DAF-B94A-9E9D-20CCF8B72648}">
      <dgm:prSet/>
      <dgm:spPr/>
      <dgm:t>
        <a:bodyPr/>
        <a:lstStyle/>
        <a:p>
          <a:endParaRPr lang="en-US"/>
        </a:p>
      </dgm:t>
    </dgm:pt>
    <dgm:pt modelId="{CA044C82-039A-2746-BB3F-7251B045D274}" type="sibTrans" cxnId="{C07A1F31-7DAF-B94A-9E9D-20CCF8B72648}">
      <dgm:prSet/>
      <dgm:spPr/>
      <dgm:t>
        <a:bodyPr/>
        <a:lstStyle/>
        <a:p>
          <a:endParaRPr lang="en-US"/>
        </a:p>
      </dgm:t>
    </dgm:pt>
    <dgm:pt modelId="{90B4035E-34BC-B747-9761-823A1755D020}">
      <dgm:prSet phldrT="[Text]" phldr="1"/>
      <dgm:spPr/>
      <dgm:t>
        <a:bodyPr/>
        <a:lstStyle/>
        <a:p>
          <a:endParaRPr lang="en-US" dirty="0"/>
        </a:p>
      </dgm:t>
    </dgm:pt>
    <dgm:pt modelId="{68C2F50D-387F-B34C-BE15-B5BC77FBDBFF}" type="sibTrans" cxnId="{1F9A0844-DE72-2946-AB3C-E9684C531D25}">
      <dgm:prSet/>
      <dgm:spPr/>
      <dgm:t>
        <a:bodyPr/>
        <a:lstStyle/>
        <a:p>
          <a:endParaRPr lang="en-US"/>
        </a:p>
      </dgm:t>
    </dgm:pt>
    <dgm:pt modelId="{85B92C92-75C7-B548-887F-4D357D4BA43E}" type="parTrans" cxnId="{1F9A0844-DE72-2946-AB3C-E9684C531D25}">
      <dgm:prSet/>
      <dgm:spPr/>
      <dgm:t>
        <a:bodyPr/>
        <a:lstStyle/>
        <a:p>
          <a:endParaRPr lang="en-US"/>
        </a:p>
      </dgm:t>
    </dgm:pt>
    <dgm:pt modelId="{0838D4BC-0452-9F45-B037-16EA7B963307}" type="pres">
      <dgm:prSet presAssocID="{ADB3BB8C-EFFF-CA49-849C-5CA0DE6ADB18}" presName="matrix" presStyleCnt="0">
        <dgm:presLayoutVars>
          <dgm:chMax val="1"/>
          <dgm:dir/>
          <dgm:resizeHandles val="exact"/>
        </dgm:presLayoutVars>
      </dgm:prSet>
      <dgm:spPr/>
    </dgm:pt>
    <dgm:pt modelId="{FE8F271F-2F45-C947-8551-2C0AAFE665D7}" type="pres">
      <dgm:prSet presAssocID="{ADB3BB8C-EFFF-CA49-849C-5CA0DE6ADB18}" presName="axisShape" presStyleLbl="bgShp" presStyleIdx="0" presStyleCnt="1"/>
      <dgm:spPr/>
    </dgm:pt>
    <dgm:pt modelId="{98BE71F2-F085-CD4B-B5F6-6F98B21B1EB2}" type="pres">
      <dgm:prSet presAssocID="{ADB3BB8C-EFFF-CA49-849C-5CA0DE6ADB18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EDBE163-D912-4E4C-A8F1-77DBDEDCAC15}" type="pres">
      <dgm:prSet presAssocID="{ADB3BB8C-EFFF-CA49-849C-5CA0DE6ADB18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F0F9587-36B4-1442-9684-DB0AE63251DB}" type="pres">
      <dgm:prSet presAssocID="{ADB3BB8C-EFFF-CA49-849C-5CA0DE6ADB18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3022B109-E188-A04D-8163-04D6D7EEBD26}" type="pres">
      <dgm:prSet presAssocID="{ADB3BB8C-EFFF-CA49-849C-5CA0DE6ADB18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C07A1F31-7DAF-B94A-9E9D-20CCF8B72648}" srcId="{ADB3BB8C-EFFF-CA49-849C-5CA0DE6ADB18}" destId="{5DAD799C-9CBD-CA4D-A980-76636DB24443}" srcOrd="3" destOrd="0" parTransId="{4A912F83-2E2F-204E-920D-69892B0EFDEE}" sibTransId="{CA044C82-039A-2746-BB3F-7251B045D274}"/>
    <dgm:cxn modelId="{1F9A0844-DE72-2946-AB3C-E9684C531D25}" srcId="{ADB3BB8C-EFFF-CA49-849C-5CA0DE6ADB18}" destId="{90B4035E-34BC-B747-9761-823A1755D020}" srcOrd="2" destOrd="0" parTransId="{85B92C92-75C7-B548-887F-4D357D4BA43E}" sibTransId="{68C2F50D-387F-B34C-BE15-B5BC77FBDBFF}"/>
    <dgm:cxn modelId="{5608474B-5DB2-3C47-943E-BE3AA9E40C31}" type="presOf" srcId="{90B4035E-34BC-B747-9761-823A1755D020}" destId="{CF0F9587-36B4-1442-9684-DB0AE63251DB}" srcOrd="0" destOrd="0" presId="urn:microsoft.com/office/officeart/2005/8/layout/matrix2"/>
    <dgm:cxn modelId="{2C30D366-4A55-964C-9D08-8044DB0E83CD}" srcId="{ADB3BB8C-EFFF-CA49-849C-5CA0DE6ADB18}" destId="{CA9FEC2E-400C-9E40-8732-F7A00BD68FDB}" srcOrd="0" destOrd="0" parTransId="{4C71F1A3-7B51-C04B-AED8-05D34EEA8640}" sibTransId="{F554B957-5261-F048-B7F6-972C372A6DB5}"/>
    <dgm:cxn modelId="{EE0AD4AB-122B-B74E-9C33-88DDB6D168AF}" type="presOf" srcId="{453A35FD-8B1F-964D-929B-9BC13DF2AEDC}" destId="{5EDBE163-D912-4E4C-A8F1-77DBDEDCAC15}" srcOrd="0" destOrd="0" presId="urn:microsoft.com/office/officeart/2005/8/layout/matrix2"/>
    <dgm:cxn modelId="{E18F99B5-4DB1-0E46-A461-7ED7F6B34A54}" type="presOf" srcId="{CA9FEC2E-400C-9E40-8732-F7A00BD68FDB}" destId="{98BE71F2-F085-CD4B-B5F6-6F98B21B1EB2}" srcOrd="0" destOrd="0" presId="urn:microsoft.com/office/officeart/2005/8/layout/matrix2"/>
    <dgm:cxn modelId="{BECAAACB-FC1D-064F-B64C-54A9C4E26D5F}" srcId="{ADB3BB8C-EFFF-CA49-849C-5CA0DE6ADB18}" destId="{453A35FD-8B1F-964D-929B-9BC13DF2AEDC}" srcOrd="1" destOrd="0" parTransId="{BF9B8045-22DF-A546-A8A7-BB9BE77CA461}" sibTransId="{F2084B94-7A64-9B4D-82CA-77D001490957}"/>
    <dgm:cxn modelId="{1BA6FDE3-2073-E049-93EE-3139F427E339}" type="presOf" srcId="{ADB3BB8C-EFFF-CA49-849C-5CA0DE6ADB18}" destId="{0838D4BC-0452-9F45-B037-16EA7B963307}" srcOrd="0" destOrd="0" presId="urn:microsoft.com/office/officeart/2005/8/layout/matrix2"/>
    <dgm:cxn modelId="{07413CE4-C1C4-E34A-96F1-E75D44AA7FA1}" type="presOf" srcId="{5DAD799C-9CBD-CA4D-A980-76636DB24443}" destId="{3022B109-E188-A04D-8163-04D6D7EEBD26}" srcOrd="0" destOrd="0" presId="urn:microsoft.com/office/officeart/2005/8/layout/matrix2"/>
    <dgm:cxn modelId="{DA5AE4E5-B1B3-9148-8A53-39493F6F667E}" type="presParOf" srcId="{0838D4BC-0452-9F45-B037-16EA7B963307}" destId="{FE8F271F-2F45-C947-8551-2C0AAFE665D7}" srcOrd="0" destOrd="0" presId="urn:microsoft.com/office/officeart/2005/8/layout/matrix2"/>
    <dgm:cxn modelId="{CE52ABD5-3B1B-B240-B0C6-88ADE3F201A3}" type="presParOf" srcId="{0838D4BC-0452-9F45-B037-16EA7B963307}" destId="{98BE71F2-F085-CD4B-B5F6-6F98B21B1EB2}" srcOrd="1" destOrd="0" presId="urn:microsoft.com/office/officeart/2005/8/layout/matrix2"/>
    <dgm:cxn modelId="{7146DDD0-7EF0-3A4E-8D78-FB8AA2C644E9}" type="presParOf" srcId="{0838D4BC-0452-9F45-B037-16EA7B963307}" destId="{5EDBE163-D912-4E4C-A8F1-77DBDEDCAC15}" srcOrd="2" destOrd="0" presId="urn:microsoft.com/office/officeart/2005/8/layout/matrix2"/>
    <dgm:cxn modelId="{71CAB9F4-731A-C244-B93B-D52AC9914A53}" type="presParOf" srcId="{0838D4BC-0452-9F45-B037-16EA7B963307}" destId="{CF0F9587-36B4-1442-9684-DB0AE63251DB}" srcOrd="3" destOrd="0" presId="urn:microsoft.com/office/officeart/2005/8/layout/matrix2"/>
    <dgm:cxn modelId="{DEE88A11-96A3-C542-98EF-CE529E13BC06}" type="presParOf" srcId="{0838D4BC-0452-9F45-B037-16EA7B963307}" destId="{3022B109-E188-A04D-8163-04D6D7EEBD26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8F271F-2F45-C947-8551-2C0AAFE665D7}">
      <dsp:nvSpPr>
        <dsp:cNvPr id="0" name=""/>
        <dsp:cNvSpPr/>
      </dsp:nvSpPr>
      <dsp:spPr>
        <a:xfrm>
          <a:off x="3309144" y="0"/>
          <a:ext cx="4633912" cy="4633912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BE71F2-F085-CD4B-B5F6-6F98B21B1EB2}">
      <dsp:nvSpPr>
        <dsp:cNvPr id="0" name=""/>
        <dsp:cNvSpPr/>
      </dsp:nvSpPr>
      <dsp:spPr>
        <a:xfrm>
          <a:off x="3610348" y="301204"/>
          <a:ext cx="1853564" cy="185356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Data protection</a:t>
          </a:r>
        </a:p>
      </dsp:txBody>
      <dsp:txXfrm>
        <a:off x="3700832" y="391688"/>
        <a:ext cx="1672596" cy="1672596"/>
      </dsp:txXfrm>
    </dsp:sp>
    <dsp:sp modelId="{5EDBE163-D912-4E4C-A8F1-77DBDEDCAC15}">
      <dsp:nvSpPr>
        <dsp:cNvPr id="0" name=""/>
        <dsp:cNvSpPr/>
      </dsp:nvSpPr>
      <dsp:spPr>
        <a:xfrm>
          <a:off x="5788286" y="301204"/>
          <a:ext cx="1853564" cy="185356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New EU data strategy</a:t>
          </a:r>
        </a:p>
      </dsp:txBody>
      <dsp:txXfrm>
        <a:off x="5878770" y="391688"/>
        <a:ext cx="1672596" cy="1672596"/>
      </dsp:txXfrm>
    </dsp:sp>
    <dsp:sp modelId="{CF0F9587-36B4-1442-9684-DB0AE63251DB}">
      <dsp:nvSpPr>
        <dsp:cNvPr id="0" name=""/>
        <dsp:cNvSpPr/>
      </dsp:nvSpPr>
      <dsp:spPr>
        <a:xfrm>
          <a:off x="3610348" y="2479142"/>
          <a:ext cx="1853564" cy="185356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 dirty="0"/>
        </a:p>
      </dsp:txBody>
      <dsp:txXfrm>
        <a:off x="3700832" y="2569626"/>
        <a:ext cx="1672596" cy="1672596"/>
      </dsp:txXfrm>
    </dsp:sp>
    <dsp:sp modelId="{3022B109-E188-A04D-8163-04D6D7EEBD26}">
      <dsp:nvSpPr>
        <dsp:cNvPr id="0" name=""/>
        <dsp:cNvSpPr/>
      </dsp:nvSpPr>
      <dsp:spPr>
        <a:xfrm>
          <a:off x="5788286" y="2479142"/>
          <a:ext cx="1853564" cy="185356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Pre GDPR</a:t>
          </a:r>
        </a:p>
      </dsp:txBody>
      <dsp:txXfrm>
        <a:off x="5878770" y="2569626"/>
        <a:ext cx="1672596" cy="16725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8/31/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8/31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6CA7F37-5210-6240-8D26-ED0EF0AB47D6}" type="slidenum">
              <a:rPr lang="en-US" altLang="en-US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8462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5976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40931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2509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83977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bg1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bg1"/>
                </a:solidFill>
              </a:rPr>
              <a:t>ERASE</a:t>
            </a:r>
            <a:r>
              <a:rPr lang="pt-PT" sz="600" b="1" baseline="0" dirty="0">
                <a:solidFill>
                  <a:schemeClr val="bg1"/>
                </a:solidFill>
              </a:rPr>
              <a:t> THIS CAPTION IN THE END</a:t>
            </a:r>
            <a:endParaRPr lang="en-US" sz="6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schemeClr val="bg1"/>
                </a:solidFill>
              </a:rPr>
            </a:br>
            <a:r>
              <a:rPr lang="pt-PT" sz="600" b="1" dirty="0">
                <a:solidFill>
                  <a:schemeClr val="bg1"/>
                </a:solidFill>
              </a:rPr>
              <a:t>[To </a:t>
            </a:r>
            <a:r>
              <a:rPr lang="pt-PT" sz="600" b="1" dirty="0" err="1">
                <a:solidFill>
                  <a:schemeClr val="bg1"/>
                </a:solidFill>
              </a:rPr>
              <a:t>edit</a:t>
            </a:r>
            <a:r>
              <a:rPr lang="pt-PT" sz="600" b="1" dirty="0">
                <a:solidFill>
                  <a:schemeClr val="bg1"/>
                </a:solidFill>
              </a:rPr>
              <a:t>, </a:t>
            </a:r>
            <a:r>
              <a:rPr lang="pt-PT" sz="600" b="1" dirty="0" err="1">
                <a:solidFill>
                  <a:schemeClr val="bg1"/>
                </a:solidFill>
              </a:rPr>
              <a:t>click</a:t>
            </a:r>
            <a:r>
              <a:rPr lang="pt-PT" sz="600" b="1" dirty="0">
                <a:solidFill>
                  <a:schemeClr val="bg1"/>
                </a:solidFill>
              </a:rPr>
              <a:t> </a:t>
            </a:r>
            <a:r>
              <a:rPr lang="pt-PT" sz="600" b="1" dirty="0" err="1">
                <a:solidFill>
                  <a:schemeClr val="bg1"/>
                </a:solidFill>
              </a:rPr>
              <a:t>View</a:t>
            </a:r>
            <a:r>
              <a:rPr lang="pt-PT" sz="600" b="1" dirty="0">
                <a:solidFill>
                  <a:schemeClr val="bg1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bg1"/>
                </a:solidFill>
              </a:rPr>
              <a:t> THIS CAPTION IN THE END</a:t>
            </a:r>
            <a:endParaRPr lang="pt-PT" sz="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14377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35259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1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912366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18928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503198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28768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29784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4073981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012866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57130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714664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912667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584039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584336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01964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273547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36541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411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609416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764223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42015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294055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616744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55815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079128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778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715364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49756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91490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71818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DD56D6-5FE1-4D5F-BD8F-B923A620CA0E}" type="datetimeFigureOut">
              <a:rPr lang="en-US" smtClean="0"/>
              <a:t>8/3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215D38-8C26-4425-963D-FBDDABF562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8426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821545"/>
            <a:ext cx="4389120" cy="2036455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2863" b="1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30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113" baseline="0" dirty="0"/>
            </a:lvl1pPr>
          </a:lstStyle>
          <a:p>
            <a:pPr marL="181818" lvl="0" indent="-181818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2189186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863" spc="-60" dirty="0">
                <a:latin typeface="+mj-lt"/>
              </a:defRPr>
            </a:lvl1pPr>
          </a:lstStyle>
          <a:p>
            <a:pPr lvl="0" defTabSz="545454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954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267976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52800" cy="199339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863" spc="-60" dirty="0">
                <a:latin typeface="+mj-lt"/>
              </a:defRPr>
            </a:lvl1pPr>
          </a:lstStyle>
          <a:p>
            <a:pPr lvl="0" defTabSz="545454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716" b="1" kern="0" cap="all" spc="199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81818" lvl="0" indent="-181818"/>
            <a:r>
              <a:rPr lang="en-US" dirty="0"/>
              <a:t>BREADCRUMB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954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30783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Bloc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14400" y="1217629"/>
            <a:ext cx="10363200" cy="3690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147" b="1" dirty="0"/>
              <a:t>Do not use this</a:t>
            </a:r>
            <a:r>
              <a:rPr lang="en-US" sz="9147" b="1" baseline="0" dirty="0"/>
              <a:t> layout</a:t>
            </a:r>
          </a:p>
          <a:p>
            <a:pPr algn="ctr"/>
            <a:endParaRPr lang="en-US" sz="2545" b="1" baseline="0" dirty="0"/>
          </a:p>
          <a:p>
            <a:pPr algn="ctr"/>
            <a:r>
              <a:rPr lang="en-US" sz="2545" b="0" baseline="0" dirty="0"/>
              <a:t>Delete any master slides that occur after this layout</a:t>
            </a:r>
            <a:endParaRPr lang="en-US" sz="2545" b="0" dirty="0"/>
          </a:p>
        </p:txBody>
      </p:sp>
    </p:spTree>
    <p:extLst>
      <p:ext uri="{BB962C8B-B14F-4D97-AF65-F5344CB8AC3E}">
        <p14:creationId xmlns:p14="http://schemas.microsoft.com/office/powerpoint/2010/main" val="40753706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no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5922EAA-9DB7-4759-A39E-BD4002B6CA88}" type="datetimeFigureOut">
              <a:rPr lang="en-US" smtClean="0">
                <a:solidFill>
                  <a:srgbClr val="E7E7E8"/>
                </a:solidFill>
              </a:rPr>
              <a:pPr/>
              <a:t>8/31/20</a:t>
            </a:fld>
            <a:endParaRPr lang="en-US" dirty="0">
              <a:solidFill>
                <a:srgbClr val="E7E7E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6C0D935-D802-48C2-BA0B-1A8DBFF4C45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44740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sz="3600" b="1" i="0">
                <a:latin typeface="Arial"/>
                <a:cs typeface="Arial"/>
              </a:defRPr>
            </a:lvl1pPr>
          </a:lstStyle>
          <a:p>
            <a:r>
              <a:rPr lang="nl-BE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66C91F-1138-7445-8F2D-57B1A1CE50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C51D845-A58A-5147-8214-441CB1C2BDDC}" type="datetime1">
              <a:rPr lang="en-US" altLang="en-US"/>
              <a:pPr>
                <a:defRPr/>
              </a:pPr>
              <a:t>8/31/20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A49EA4-9751-F345-9885-07359A02E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DFCED7-7182-DF47-A018-D2F99333F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C3E95E85-2C97-F949-B7A8-23719A4EAB2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4113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769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6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038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722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 dirty="0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 dirty="0">
                <a:solidFill>
                  <a:schemeClr val="accent5"/>
                </a:solidFill>
              </a:rPr>
              <a:t>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en-US" sz="600" b="1" dirty="0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 dirty="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 dirty="0">
                <a:solidFill>
                  <a:prstClr val="black"/>
                </a:solidFill>
              </a:rPr>
            </a:br>
            <a:r>
              <a:rPr lang="pt-PT" sz="600" b="1" dirty="0">
                <a:solidFill>
                  <a:schemeClr val="accent5"/>
                </a:solidFill>
              </a:rPr>
              <a:t>[To </a:t>
            </a:r>
            <a:r>
              <a:rPr lang="pt-PT" sz="600" b="1" dirty="0" err="1">
                <a:solidFill>
                  <a:schemeClr val="accent5"/>
                </a:solidFill>
              </a:rPr>
              <a:t>edit</a:t>
            </a:r>
            <a:r>
              <a:rPr lang="pt-PT" sz="600" b="1" dirty="0">
                <a:solidFill>
                  <a:schemeClr val="accent5"/>
                </a:solidFill>
              </a:rPr>
              <a:t>, </a:t>
            </a:r>
            <a:r>
              <a:rPr lang="pt-PT" sz="600" b="1" dirty="0" err="1">
                <a:solidFill>
                  <a:schemeClr val="accent5"/>
                </a:solidFill>
              </a:rPr>
              <a:t>click</a:t>
            </a:r>
            <a:r>
              <a:rPr lang="pt-PT" sz="600" b="1" dirty="0">
                <a:solidFill>
                  <a:schemeClr val="accent5"/>
                </a:solidFill>
              </a:rPr>
              <a:t> </a:t>
            </a:r>
            <a:r>
              <a:rPr lang="pt-PT" sz="600" b="1" dirty="0" err="1">
                <a:solidFill>
                  <a:schemeClr val="accent5"/>
                </a:solidFill>
              </a:rPr>
              <a:t>View</a:t>
            </a:r>
            <a:r>
              <a:rPr lang="pt-PT" sz="600" b="1" dirty="0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 dirty="0">
                <a:solidFill>
                  <a:schemeClr val="accent5"/>
                </a:solidFill>
              </a:rPr>
              <a:t> THIS CAPTION IN THE END</a:t>
            </a:r>
            <a:endParaRPr lang="pt-PT" sz="6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742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53758399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7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1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 dirty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6" r:id="rId42"/>
    <p:sldLayoutId id="2147483817" r:id="rId43"/>
    <p:sldLayoutId id="2147483818" r:id="rId44"/>
    <p:sldLayoutId id="2147483819" r:id="rId45"/>
    <p:sldLayoutId id="2147483820" r:id="rId46"/>
    <p:sldLayoutId id="2147483821" r:id="rId4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tiff"/><Relationship Id="rId3" Type="http://schemas.openxmlformats.org/officeDocument/2006/relationships/image" Target="../media/image10.png"/><Relationship Id="rId7" Type="http://schemas.openxmlformats.org/officeDocument/2006/relationships/image" Target="../media/image14.tif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tiff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Title 32">
            <a:extLst>
              <a:ext uri="{FF2B5EF4-FFF2-40B4-BE49-F238E27FC236}">
                <a16:creationId xmlns:a16="http://schemas.microsoft.com/office/drawing/2014/main" id="{5382D584-E121-F943-98C6-6B27B8DF786C}"/>
              </a:ext>
            </a:extLst>
          </p:cNvPr>
          <p:cNvSpPr>
            <a:spLocks noGrp="1"/>
          </p:cNvSpPr>
          <p:nvPr>
            <p:ph type="ctrTitle"/>
          </p:nvPr>
        </p:nvSpPr>
        <p:spPr bwMode="auto">
          <a:xfrm>
            <a:off x="2130425" y="2489201"/>
            <a:ext cx="7627938" cy="18462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eaLnBrk="1" hangingPunct="1"/>
            <a:r>
              <a:rPr lang="en-US" altLang="en-US" sz="4200" dirty="0">
                <a:solidFill>
                  <a:srgbClr val="005097"/>
                </a:solidFill>
                <a:latin typeface="Garamond" panose="02020404030301010803" pitchFamily="18" charset="0"/>
                <a:ea typeface="ＭＳ Ｐゴシック" panose="020B0600070205080204" pitchFamily="34" charset="-128"/>
                <a:cs typeface="Arial" panose="020B0604020202020204" pitchFamily="34" charset="0"/>
              </a:rPr>
              <a:t>Maximizing control and reuse over data: why and how</a:t>
            </a:r>
          </a:p>
        </p:txBody>
      </p:sp>
      <p:sp>
        <p:nvSpPr>
          <p:cNvPr id="34" name="Subtitle 33">
            <a:extLst>
              <a:ext uri="{FF2B5EF4-FFF2-40B4-BE49-F238E27FC236}">
                <a16:creationId xmlns:a16="http://schemas.microsoft.com/office/drawing/2014/main" id="{902ED938-1DE5-D141-A214-A93E0D3B83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30425" y="4622800"/>
            <a:ext cx="6400800" cy="508000"/>
          </a:xfrm>
        </p:spPr>
        <p:txBody>
          <a:bodyPr/>
          <a:lstStyle/>
          <a:p>
            <a:pPr algn="l">
              <a:spcAft>
                <a:spcPts val="0"/>
              </a:spcAft>
              <a:defRPr/>
            </a:pPr>
            <a:r>
              <a:rPr lang="en-US" sz="2000" b="0" dirty="0">
                <a:solidFill>
                  <a:srgbClr val="CB123E"/>
                </a:solidFill>
              </a:rPr>
              <a:t>David Osimo, the Lisbon Counci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557C63-D50D-514C-B62E-438AD101A5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6235" y="4483100"/>
            <a:ext cx="38100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849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036DBC-6C58-8645-B3FC-952B9A92CF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coming the tradeoff </a:t>
            </a:r>
            <a:r>
              <a:rPr lang="en-US" dirty="0" err="1"/>
              <a:t>bettween</a:t>
            </a:r>
            <a:r>
              <a:rPr lang="en-US" dirty="0"/>
              <a:t> control and reus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1B11710-7EDF-7642-8680-58A1DFA3CD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8394781"/>
              </p:ext>
            </p:extLst>
          </p:nvPr>
        </p:nvGraphicFramePr>
        <p:xfrm>
          <a:off x="469900" y="1665288"/>
          <a:ext cx="11252200" cy="4633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585F173-AEE7-1841-BA86-F2D614B1C652}"/>
              </a:ext>
            </a:extLst>
          </p:cNvPr>
          <p:cNvSpPr txBox="1"/>
          <p:nvPr/>
        </p:nvSpPr>
        <p:spPr>
          <a:xfrm>
            <a:off x="5155037" y="1219248"/>
            <a:ext cx="188192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High contro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F422AE-4900-4849-A082-9E62ECA125DA}"/>
              </a:ext>
            </a:extLst>
          </p:cNvPr>
          <p:cNvSpPr txBox="1"/>
          <p:nvPr/>
        </p:nvSpPr>
        <p:spPr>
          <a:xfrm>
            <a:off x="5030346" y="6374759"/>
            <a:ext cx="178895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Low contro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65F5295-985D-5C4C-B601-88688AE1C34D}"/>
              </a:ext>
            </a:extLst>
          </p:cNvPr>
          <p:cNvSpPr txBox="1"/>
          <p:nvPr/>
        </p:nvSpPr>
        <p:spPr>
          <a:xfrm>
            <a:off x="1483583" y="3797578"/>
            <a:ext cx="157254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Low reu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4D9DD6-997B-7B4D-940F-08FF0A7A1C48}"/>
              </a:ext>
            </a:extLst>
          </p:cNvPr>
          <p:cNvSpPr txBox="1"/>
          <p:nvPr/>
        </p:nvSpPr>
        <p:spPr>
          <a:xfrm>
            <a:off x="8812637" y="3797578"/>
            <a:ext cx="1665521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High reuse</a:t>
            </a:r>
          </a:p>
        </p:txBody>
      </p:sp>
    </p:spTree>
    <p:extLst>
      <p:ext uri="{BB962C8B-B14F-4D97-AF65-F5344CB8AC3E}">
        <p14:creationId xmlns:p14="http://schemas.microsoft.com/office/powerpoint/2010/main" val="22478722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585FC-B9A3-BF4F-A644-099479FBB5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he data sharing opportunity: 80% of the data opportunit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88EB6-CD74-BF48-98A4-40C85CB1D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6DE8AA-D8A4-F54D-A4F8-58DBDB5F6D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1982" y="0"/>
            <a:ext cx="2570018" cy="1091086"/>
          </a:xfrm>
          <a:prstGeom prst="rect">
            <a:avLst/>
          </a:prstGeom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A0D7FB51-DBD3-304E-A04A-407349CC4E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69900" y="2314532"/>
            <a:ext cx="11252200" cy="2379459"/>
          </a:xfr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09C4CFF-55EE-6245-8A1F-7B8C34B28FE7}"/>
              </a:ext>
            </a:extLst>
          </p:cNvPr>
          <p:cNvSpPr txBox="1"/>
          <p:nvPr/>
        </p:nvSpPr>
        <p:spPr>
          <a:xfrm>
            <a:off x="5133109" y="6400799"/>
            <a:ext cx="605889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dirty="0">
                <a:solidFill>
                  <a:srgbClr val="313131"/>
                </a:solidFill>
              </a:rPr>
              <a:t>Source: Vodafone study by Deloitte</a:t>
            </a:r>
          </a:p>
        </p:txBody>
      </p:sp>
    </p:spTree>
    <p:extLst>
      <p:ext uri="{BB962C8B-B14F-4D97-AF65-F5344CB8AC3E}">
        <p14:creationId xmlns:p14="http://schemas.microsoft.com/office/powerpoint/2010/main" val="387337890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6585FC-B9A3-BF4F-A644-099479FBB5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BARRIER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988EB6-CD74-BF48-98A4-40C85CB1D0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67F6CE5-EA0E-484B-B343-CBA8E7D15D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238991" y="1375983"/>
            <a:ext cx="7213023" cy="4869169"/>
          </a:xfr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72E10B-E7DF-A949-9389-D775E1B16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9083" y="148757"/>
            <a:ext cx="8624655" cy="14833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16EEA9-A40D-684B-AB6C-F4A29D127A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1019" y="2913429"/>
            <a:ext cx="5870981" cy="169355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482BE62-0BA1-294F-944B-067BC6A4FB6B}"/>
              </a:ext>
            </a:extLst>
          </p:cNvPr>
          <p:cNvSpPr txBox="1"/>
          <p:nvPr/>
        </p:nvSpPr>
        <p:spPr>
          <a:xfrm>
            <a:off x="2937180" y="6146174"/>
            <a:ext cx="407855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How to solve it – at scale?</a:t>
            </a:r>
          </a:p>
        </p:txBody>
      </p:sp>
      <p:sp>
        <p:nvSpPr>
          <p:cNvPr id="4" name="Donut 3">
            <a:extLst>
              <a:ext uri="{FF2B5EF4-FFF2-40B4-BE49-F238E27FC236}">
                <a16:creationId xmlns:a16="http://schemas.microsoft.com/office/drawing/2014/main" id="{A7C51735-8EDE-8A40-BCB5-A5957CFE2114}"/>
              </a:ext>
            </a:extLst>
          </p:cNvPr>
          <p:cNvSpPr/>
          <p:nvPr/>
        </p:nvSpPr>
        <p:spPr bwMode="gray">
          <a:xfrm>
            <a:off x="4094017" y="2326433"/>
            <a:ext cx="2708565" cy="691249"/>
          </a:xfrm>
          <a:prstGeom prst="donut">
            <a:avLst>
              <a:gd name="adj" fmla="val 6632"/>
            </a:avLst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Donut 8">
            <a:extLst>
              <a:ext uri="{FF2B5EF4-FFF2-40B4-BE49-F238E27FC236}">
                <a16:creationId xmlns:a16="http://schemas.microsoft.com/office/drawing/2014/main" id="{C5AACDFA-ADB1-B24D-8A4E-0F67DBE59495}"/>
              </a:ext>
            </a:extLst>
          </p:cNvPr>
          <p:cNvSpPr/>
          <p:nvPr/>
        </p:nvSpPr>
        <p:spPr bwMode="gray">
          <a:xfrm>
            <a:off x="4398817" y="4502727"/>
            <a:ext cx="2403766" cy="783247"/>
          </a:xfrm>
          <a:prstGeom prst="donut">
            <a:avLst>
              <a:gd name="adj" fmla="val 6632"/>
            </a:avLst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Donut 10">
            <a:extLst>
              <a:ext uri="{FF2B5EF4-FFF2-40B4-BE49-F238E27FC236}">
                <a16:creationId xmlns:a16="http://schemas.microsoft.com/office/drawing/2014/main" id="{00A0E927-4636-1942-BF31-408C75E2375B}"/>
              </a:ext>
            </a:extLst>
          </p:cNvPr>
          <p:cNvSpPr/>
          <p:nvPr/>
        </p:nvSpPr>
        <p:spPr bwMode="gray">
          <a:xfrm>
            <a:off x="700518" y="5296582"/>
            <a:ext cx="2708565" cy="691249"/>
          </a:xfrm>
          <a:prstGeom prst="donut">
            <a:avLst>
              <a:gd name="adj" fmla="val 6632"/>
            </a:avLst>
          </a:prstGeom>
          <a:solidFill>
            <a:srgbClr val="FF00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99766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1E36CB-4F71-E349-9BD9-2B86FC2B0A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The solu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FC9BEB-2460-F947-B33F-1E34666F8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D1D8324C-9491-E64A-81F2-3B741F7264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87527261"/>
              </p:ext>
            </p:extLst>
          </p:nvPr>
        </p:nvGraphicFramePr>
        <p:xfrm>
          <a:off x="1296554" y="1643000"/>
          <a:ext cx="9598892" cy="411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5529">
                  <a:extLst>
                    <a:ext uri="{9D8B030D-6E8A-4147-A177-3AD203B41FA5}">
                      <a16:colId xmlns:a16="http://schemas.microsoft.com/office/drawing/2014/main" val="1359557644"/>
                    </a:ext>
                  </a:extLst>
                </a:gridCol>
                <a:gridCol w="5553363">
                  <a:extLst>
                    <a:ext uri="{9D8B030D-6E8A-4147-A177-3AD203B41FA5}">
                      <a16:colId xmlns:a16="http://schemas.microsoft.com/office/drawing/2014/main" val="295543535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Instru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8797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i="0" dirty="0"/>
                        <a:t>Sectoral data stand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i="0" dirty="0"/>
                        <a:t>More mature within sectors, not across. More mature governanc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7573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Metadata standards (esp. M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Individual solutions (Microsoft, Google), industry initiativ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1414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Data sharing schem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Pilots, industry initiatives, specific use case implement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635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Interoperability across 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mplemented only in specific domains (e.g. FAIR data in scienc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2053004"/>
                  </a:ext>
                </a:extLst>
              </a:tr>
            </a:tbl>
          </a:graphicData>
        </a:graphic>
      </p:graphicFrame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FF58283B-1EB6-154D-AA43-3B23354C5D7A}"/>
              </a:ext>
            </a:extLst>
          </p:cNvPr>
          <p:cNvSpPr txBox="1">
            <a:spLocks/>
          </p:cNvSpPr>
          <p:nvPr/>
        </p:nvSpPr>
        <p:spPr>
          <a:xfrm>
            <a:off x="5848927" y="1665817"/>
            <a:ext cx="4590473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en-US" sz="1800"/>
          </a:p>
        </p:txBody>
      </p:sp>
      <p:sp>
        <p:nvSpPr>
          <p:cNvPr id="10" name="Left Arrow 9">
            <a:extLst>
              <a:ext uri="{FF2B5EF4-FFF2-40B4-BE49-F238E27FC236}">
                <a16:creationId xmlns:a16="http://schemas.microsoft.com/office/drawing/2014/main" id="{24460DF9-2269-C34E-AE2D-DD247AB8E811}"/>
              </a:ext>
            </a:extLst>
          </p:cNvPr>
          <p:cNvSpPr/>
          <p:nvPr/>
        </p:nvSpPr>
        <p:spPr bwMode="gray">
          <a:xfrm rot="16200000">
            <a:off x="-1110096" y="3361460"/>
            <a:ext cx="3657603" cy="862445"/>
          </a:xfrm>
          <a:prstGeom prst="lef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COMPLEXITY</a:t>
            </a:r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4A642A5F-3713-7541-A40D-FE0F283EFFF4}"/>
              </a:ext>
            </a:extLst>
          </p:cNvPr>
          <p:cNvSpPr/>
          <p:nvPr/>
        </p:nvSpPr>
        <p:spPr bwMode="gray">
          <a:xfrm rot="16200000">
            <a:off x="9544625" y="3195575"/>
            <a:ext cx="3990109" cy="884959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MATURITY</a:t>
            </a:r>
          </a:p>
        </p:txBody>
      </p:sp>
    </p:spTree>
    <p:extLst>
      <p:ext uri="{BB962C8B-B14F-4D97-AF65-F5344CB8AC3E}">
        <p14:creationId xmlns:p14="http://schemas.microsoft.com/office/powerpoint/2010/main" val="364654252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B28EC9-9A8D-2645-B92E-0D0C5E3FAE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899" y="309076"/>
            <a:ext cx="10463143" cy="757255"/>
          </a:xfrm>
        </p:spPr>
        <p:txBody>
          <a:bodyPr/>
          <a:lstStyle/>
          <a:p>
            <a:r>
              <a:rPr lang="en-US" dirty="0"/>
              <a:t>Fast moving landscape, new solutions being piloted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D1CC438-D3C4-DD4F-9DE6-37EABF0CBE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74505" y="4244100"/>
            <a:ext cx="4702405" cy="1395552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D228E0E-B279-714D-A21A-D568DB24A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3318" y="2438400"/>
            <a:ext cx="3243592" cy="9535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27B2F7-EA08-834B-B80A-E1261B5A7D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188" y="4124500"/>
            <a:ext cx="1600200" cy="1587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A7BDAB-DBA3-BA4C-B4C7-74AD4EC66C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25" y="1470495"/>
            <a:ext cx="4695282" cy="23550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7CA0DA-D384-8242-9716-030D15DABA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6401" y="780585"/>
            <a:ext cx="3551307" cy="10679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52B27F-8F86-8E4B-87BA-121621E4C9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0793" y="1500662"/>
            <a:ext cx="3810000" cy="2133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C864EA4-DCE9-9344-917A-5FFF69493A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75374" y="4407398"/>
            <a:ext cx="3344786" cy="20846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D28AFDD-71D1-6347-B231-929C9A2E7096}"/>
              </a:ext>
            </a:extLst>
          </p:cNvPr>
          <p:cNvSpPr txBox="1"/>
          <p:nvPr/>
        </p:nvSpPr>
        <p:spPr>
          <a:xfrm>
            <a:off x="8771135" y="4028903"/>
            <a:ext cx="2348079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dirty="0">
                <a:solidFill>
                  <a:srgbClr val="313131"/>
                </a:solidFill>
              </a:rPr>
              <a:t>Estonia X-Road</a:t>
            </a:r>
          </a:p>
        </p:txBody>
      </p:sp>
    </p:spTree>
    <p:extLst>
      <p:ext uri="{BB962C8B-B14F-4D97-AF65-F5344CB8AC3E}">
        <p14:creationId xmlns:p14="http://schemas.microsoft.com/office/powerpoint/2010/main" val="276768349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CB2B5B-AED7-FE4A-809F-95162171FA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 conclusion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D890B3-0EC4-CC4F-939D-318B93315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6C6DB7-EED1-2347-A47D-3C4DACCED3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800" dirty="0"/>
              <a:t>You don’t need a EU data space to start sharing data.</a:t>
            </a:r>
          </a:p>
          <a:p>
            <a:endParaRPr lang="en-US" sz="4800" dirty="0"/>
          </a:p>
          <a:p>
            <a:endParaRPr lang="en-US" sz="4800" dirty="0"/>
          </a:p>
          <a:p>
            <a:endParaRPr lang="en-US" sz="4800" dirty="0"/>
          </a:p>
          <a:p>
            <a:r>
              <a:rPr lang="en-US" sz="1800" dirty="0"/>
              <a:t>Thank you</a:t>
            </a:r>
          </a:p>
          <a:p>
            <a:r>
              <a:rPr lang="en-US" sz="1800" dirty="0" err="1"/>
              <a:t>david.osimo@lisboncouncil.net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1923190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0sg.WUj_FQXK2sqPy21g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PowerPoint template 16_9-2019.potx" id="{F434B48B-A650-4465-B341-BBC635E1BFE1}" vid="{B8104235-393B-4462-AD95-31AF29E736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7C9386B76B8C4E879CEB61D2A833DA" ma:contentTypeVersion="10" ma:contentTypeDescription="Create a new document." ma:contentTypeScope="" ma:versionID="95eba7a1235891d459611573881463ee">
  <xsd:schema xmlns:xsd="http://www.w3.org/2001/XMLSchema" xmlns:xs="http://www.w3.org/2001/XMLSchema" xmlns:p="http://schemas.microsoft.com/office/2006/metadata/properties" xmlns:ns2="6ee9aca5-b584-4e45-9901-e2739fac0ea6" xmlns:ns3="a0fde9fd-0e09-4918-b837-a089ca6a2095" targetNamespace="http://schemas.microsoft.com/office/2006/metadata/properties" ma:root="true" ma:fieldsID="c8c5b4186c3c04a8dbea5ff6b2d31d4b" ns2:_="" ns3:_="">
    <xsd:import namespace="6ee9aca5-b584-4e45-9901-e2739fac0ea6"/>
    <xsd:import namespace="a0fde9fd-0e09-4918-b837-a089ca6a20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e9aca5-b584-4e45-9901-e2739fac0e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fde9fd-0e09-4918-b837-a089ca6a20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7B6C76-A9DF-490A-A4B3-CBCCE46F8EB0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a0fde9fd-0e09-4918-b837-a089ca6a2095"/>
    <ds:schemaRef ds:uri="http://purl.org/dc/terms/"/>
    <ds:schemaRef ds:uri="6ee9aca5-b584-4e45-9901-e2739fac0ea6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F977640-39CA-4634-8F41-CAAB1CCA68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ee9aca5-b584-4e45-9901-e2739fac0ea6"/>
    <ds:schemaRef ds:uri="a0fde9fd-0e09-4918-b837-a089ca6a20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3880592-5BB7-4BE6-8726-3C271C9BD4F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84</TotalTime>
  <Words>168</Words>
  <Application>Microsoft Macintosh PowerPoint</Application>
  <PresentationFormat>Widescreen</PresentationFormat>
  <Paragraphs>3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ＭＳ Ｐゴシック</vt:lpstr>
      <vt:lpstr>Arial</vt:lpstr>
      <vt:lpstr>Calibri</vt:lpstr>
      <vt:lpstr>Garamond</vt:lpstr>
      <vt:lpstr>Nexa Black</vt:lpstr>
      <vt:lpstr>Open Sans</vt:lpstr>
      <vt:lpstr>Verdana</vt:lpstr>
      <vt:lpstr>Wingdings 2</vt:lpstr>
      <vt:lpstr>Deloitte_US_Onscreen</vt:lpstr>
      <vt:lpstr>think-cell Slide</vt:lpstr>
      <vt:lpstr>Maximizing control and reuse over data: why and ho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</dc:title>
  <dc:creator>meichholtzer@deloitte.com</dc:creator>
  <cp:lastModifiedBy>David Osimo</cp:lastModifiedBy>
  <cp:revision>739</cp:revision>
  <cp:lastPrinted>2014-06-25T02:16:22Z</cp:lastPrinted>
  <dcterms:created xsi:type="dcterms:W3CDTF">2019-02-12T18:34:27Z</dcterms:created>
  <dcterms:modified xsi:type="dcterms:W3CDTF">2020-08-31T07:0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7C9386B76B8C4E879CEB61D2A833DA</vt:lpwstr>
  </property>
</Properties>
</file>